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60" d="100"/>
          <a:sy n="60" d="100"/>
        </p:scale>
        <p:origin x="90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08249-643E-CC60-894D-569C9D7DC3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912E8F3-5A14-0442-6B62-BAE51CB9E9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2367DC-15FC-F822-2C32-EF2A912F9A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8FEB32-B6E9-8BBB-856F-65CF355837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7E1DC6-39F3-AED6-F614-5D00163C2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2019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CADD69-5CDD-6486-4B2F-82CE6356B9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0B66AE9-2B89-44D8-8E07-814926984F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38AC07-F80D-27E7-1A8B-4E8C65A51A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23C3AA-342D-AE01-5538-195511338C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6774F9-13B9-8CBF-9CF7-B372312032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503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0D3D3AC-CFA6-FF3D-A12D-65A8072152A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485E613-97C2-C7A1-AB9C-314EC0917CC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F3B319-C4FE-E643-8DFF-1FF7AA5AC6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62FDAC-E16E-0725-C5BC-1EBD276FB0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02250D-D77A-7696-A17D-E2CCD143DC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14940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783C1C-DE25-7774-6A1B-AC68D5040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B11135-8C85-98AA-06BA-6D0F7845CD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DCBDF3-2D24-3D5F-94BC-F00CBC81AA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DEAECD-EA01-A705-44B7-3A3989584F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FBCEBD-E7B2-D57C-DF7C-960B898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479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730532-5DC3-BAAF-0151-859FA92DA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D3B602-A214-F9F1-C302-FCB1B36DBE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598837-364E-3FC5-D70D-0C32A263DF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FD96E1-A17F-DA61-F591-89A5AD36C9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6B13DD-0DD3-1AEA-729B-4BB493836E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30313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54D235-6485-4771-CDD8-05D1EF172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62AE40-C2C1-D218-19D7-F8D7057C87B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D6D2401-5F06-F253-2483-DBB0AE4FB0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5DBB680-4370-9BAC-E78F-17070714AA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3BCE936-6F11-F8E1-7144-3C29535524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BCC263-51B6-6FBF-E922-3B0B277DC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8964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8B47E8-9B31-6DE5-CDE8-16C95F73BE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E38DA3-4D93-7C35-BFB9-7D55143905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CDE3B4-F5C1-CBB0-7FE8-24DF00194B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470E63B-BA30-2C13-2EC6-20B198A4B06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315BEC-E64D-5A22-3D89-6AF7C243D8E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CB1987-EF73-B3CB-84DF-AAFFEFC119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5A3CF-EF46-307B-03B7-664651E411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C4FC98A-46A1-BEC5-B689-40C2B0BD27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4555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DFF00C-C533-1F25-DA95-C1D862413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88A118-7438-27F5-5882-6806E49FB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7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6E440A-35F5-E52A-7155-00CA5B0321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8D02BB-5BA3-FBC6-6BCA-AAF0D86FE2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2049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76E86E6-18BC-A3FE-8689-7EEDEAEEEE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7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93F1D3D-5A69-2098-FDCB-FAD335534A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1C6F6A-3142-D960-1288-D20C5EC6D1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0393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5E9101-2184-D864-31A6-DB1E0D8889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902D5A-27C7-9B11-5713-80D4DA60D5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3249F0-B516-A603-4333-135EE73537C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599258-B7F1-79D0-65EC-D62EB99C17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5A4BFA-BDC9-6952-53A9-4266DB5B16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C7B9672-6CDB-98BF-36F7-D58DE448C9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37866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4E3E9D-0C5E-C8A7-5A9C-750D927F70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F0F2790-33BA-7403-CC17-856D5E46842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FF7896-5E26-09BD-976B-85CC3F8168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5FE758-0ACA-8B3D-8CFD-15C45C45C6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5413F-7912-4330-AD11-32B182D60A79}" type="datetimeFigureOut">
              <a:rPr lang="en-US" smtClean="0"/>
              <a:t>8/7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C7AD68-AF89-F9E4-6C43-4009CA0A09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BE694D-D82D-39BF-3975-0A7366821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08113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934A04F-0883-69BE-2CBE-678E68210E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80431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A5B192B-9AD3-7A86-1ADF-6CA1BB1AC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1992AE-DE37-2438-1E3A-C443959E5A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F7C9B7-E6E0-6C03-CD9A-B73C28AD66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BB5413F-7912-4330-AD11-32B182D60A79}" type="datetimeFigureOut">
              <a:rPr lang="en-US" smtClean="0"/>
              <a:t>8/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E39100-8BAB-8DE1-26B0-6CC956D82E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FEB777-AEE5-A408-A9AB-2960FA78CC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BC78EC3-72A9-4896-9993-19C951397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9117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5D306DA-485B-151A-D4B1-65EDEF65B7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3378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A7EC3BC3-1CF3-50B9-BBF9-9ED55CE45CC7}"/>
              </a:ext>
            </a:extLst>
          </p:cNvPr>
          <p:cNvSpPr/>
          <p:nvPr/>
        </p:nvSpPr>
        <p:spPr>
          <a:xfrm>
            <a:off x="3987210" y="0"/>
            <a:ext cx="3902148" cy="145666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Algoritmos</a:t>
            </a:r>
            <a:r>
              <a:rPr lang="en-US" dirty="0"/>
              <a:t> de Machine Learn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70667B9-B045-EB7F-271C-08FDFA7CA31C}"/>
              </a:ext>
            </a:extLst>
          </p:cNvPr>
          <p:cNvSpPr/>
          <p:nvPr/>
        </p:nvSpPr>
        <p:spPr>
          <a:xfrm>
            <a:off x="446568" y="1639955"/>
            <a:ext cx="3125972" cy="81870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Algoritmos</a:t>
            </a:r>
            <a:r>
              <a:rPr lang="en-US" dirty="0"/>
              <a:t> </a:t>
            </a:r>
            <a:r>
              <a:rPr lang="en-US" dirty="0" err="1"/>
              <a:t>supervisados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222EEA4-CC8A-0961-82E5-11FF2B7952C0}"/>
              </a:ext>
            </a:extLst>
          </p:cNvPr>
          <p:cNvSpPr/>
          <p:nvPr/>
        </p:nvSpPr>
        <p:spPr>
          <a:xfrm>
            <a:off x="8360735" y="1637413"/>
            <a:ext cx="3125972" cy="81870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Algoritmos</a:t>
            </a:r>
            <a:r>
              <a:rPr lang="en-US" dirty="0"/>
              <a:t> no </a:t>
            </a:r>
            <a:r>
              <a:rPr lang="en-US" dirty="0" err="1"/>
              <a:t>supervisados</a:t>
            </a:r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6D28597A-949E-8AAB-F1C3-12896B99FF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9571725"/>
              </p:ext>
            </p:extLst>
          </p:nvPr>
        </p:nvGraphicFramePr>
        <p:xfrm>
          <a:off x="203200" y="2687320"/>
          <a:ext cx="1806354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2118">
                  <a:extLst>
                    <a:ext uri="{9D8B030D-6E8A-4147-A177-3AD203B41FA5}">
                      <a16:colId xmlns:a16="http://schemas.microsoft.com/office/drawing/2014/main" val="584184448"/>
                    </a:ext>
                  </a:extLst>
                </a:gridCol>
                <a:gridCol w="602118">
                  <a:extLst>
                    <a:ext uri="{9D8B030D-6E8A-4147-A177-3AD203B41FA5}">
                      <a16:colId xmlns:a16="http://schemas.microsoft.com/office/drawing/2014/main" val="638055575"/>
                    </a:ext>
                  </a:extLst>
                </a:gridCol>
                <a:gridCol w="602118">
                  <a:extLst>
                    <a:ext uri="{9D8B030D-6E8A-4147-A177-3AD203B41FA5}">
                      <a16:colId xmlns:a16="http://schemas.microsoft.com/office/drawing/2014/main" val="423742127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96736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4785283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B0EEBEB5-57CA-2F9E-236D-2214B6D5A8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7213222"/>
              </p:ext>
            </p:extLst>
          </p:nvPr>
        </p:nvGraphicFramePr>
        <p:xfrm>
          <a:off x="2499832" y="2687320"/>
          <a:ext cx="1221563" cy="7416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221563">
                  <a:extLst>
                    <a:ext uri="{9D8B030D-6E8A-4147-A177-3AD203B41FA5}">
                      <a16:colId xmlns:a16="http://schemas.microsoft.com/office/drawing/2014/main" val="33462934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0012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8561113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5BBEC220-FD52-788E-7475-91B634212C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0345082"/>
              </p:ext>
            </p:extLst>
          </p:nvPr>
        </p:nvGraphicFramePr>
        <p:xfrm>
          <a:off x="9020544" y="2687320"/>
          <a:ext cx="1806354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2118">
                  <a:extLst>
                    <a:ext uri="{9D8B030D-6E8A-4147-A177-3AD203B41FA5}">
                      <a16:colId xmlns:a16="http://schemas.microsoft.com/office/drawing/2014/main" val="584184448"/>
                    </a:ext>
                  </a:extLst>
                </a:gridCol>
                <a:gridCol w="602118">
                  <a:extLst>
                    <a:ext uri="{9D8B030D-6E8A-4147-A177-3AD203B41FA5}">
                      <a16:colId xmlns:a16="http://schemas.microsoft.com/office/drawing/2014/main" val="638055575"/>
                    </a:ext>
                  </a:extLst>
                </a:gridCol>
                <a:gridCol w="602118">
                  <a:extLst>
                    <a:ext uri="{9D8B030D-6E8A-4147-A177-3AD203B41FA5}">
                      <a16:colId xmlns:a16="http://schemas.microsoft.com/office/drawing/2014/main" val="423742127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x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96736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4785283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DA8940A0-57EA-299A-8926-2B1A933914DE}"/>
              </a:ext>
            </a:extLst>
          </p:cNvPr>
          <p:cNvSpPr/>
          <p:nvPr/>
        </p:nvSpPr>
        <p:spPr>
          <a:xfrm>
            <a:off x="7208874" y="3668233"/>
            <a:ext cx="1967024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Clusterización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44810A1-CBDC-EAA2-F82E-45063A42290D}"/>
              </a:ext>
            </a:extLst>
          </p:cNvPr>
          <p:cNvSpPr/>
          <p:nvPr/>
        </p:nvSpPr>
        <p:spPr>
          <a:xfrm>
            <a:off x="10224976" y="3668233"/>
            <a:ext cx="1967024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Reducción</a:t>
            </a:r>
            <a:r>
              <a:rPr lang="en-US" dirty="0"/>
              <a:t> de </a:t>
            </a:r>
            <a:r>
              <a:rPr lang="en-US" dirty="0" err="1"/>
              <a:t>dimensionalidad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784F4E4-9391-C318-75A7-01D122EDD2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38284" y="4335395"/>
            <a:ext cx="3581512" cy="204351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30E3184-DABD-EA95-A9B9-4B6697F918C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30660" y="4534786"/>
            <a:ext cx="2955655" cy="1868643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6C3E82B1-0D6C-CC33-2ABC-56F62BB0AB80}"/>
              </a:ext>
            </a:extLst>
          </p:cNvPr>
          <p:cNvSpPr/>
          <p:nvPr/>
        </p:nvSpPr>
        <p:spPr>
          <a:xfrm>
            <a:off x="0" y="3795823"/>
            <a:ext cx="1701209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Regresión</a:t>
            </a:r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6752A30-7DD3-93AE-27BA-82AD19E93A77}"/>
              </a:ext>
            </a:extLst>
          </p:cNvPr>
          <p:cNvSpPr/>
          <p:nvPr/>
        </p:nvSpPr>
        <p:spPr>
          <a:xfrm>
            <a:off x="2447261" y="3795823"/>
            <a:ext cx="1701209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Clasificación</a:t>
            </a:r>
            <a:endParaRPr lang="en-US" dirty="0"/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9E798171-387C-9A2A-8CFE-028306B78C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3202641"/>
              </p:ext>
            </p:extLst>
          </p:nvPr>
        </p:nvGraphicFramePr>
        <p:xfrm>
          <a:off x="314250" y="4727427"/>
          <a:ext cx="1221563" cy="7416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221563">
                  <a:extLst>
                    <a:ext uri="{9D8B030D-6E8A-4147-A177-3AD203B41FA5}">
                      <a16:colId xmlns:a16="http://schemas.microsoft.com/office/drawing/2014/main" val="33462934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0012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8561113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77F1914-7E36-A14A-B497-5D996EEE5538}"/>
              </a:ext>
            </a:extLst>
          </p:cNvPr>
          <p:cNvSpPr txBox="1"/>
          <p:nvPr/>
        </p:nvSpPr>
        <p:spPr>
          <a:xfrm>
            <a:off x="258724" y="5592726"/>
            <a:ext cx="13326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Numérica</a:t>
            </a:r>
            <a:r>
              <a:rPr lang="en-US" dirty="0"/>
              <a:t> (continua)</a:t>
            </a: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7310373A-31DC-5090-1430-64912210F0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8356719"/>
              </p:ext>
            </p:extLst>
          </p:nvPr>
        </p:nvGraphicFramePr>
        <p:xfrm>
          <a:off x="2714845" y="4795281"/>
          <a:ext cx="1221563" cy="7416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221563">
                  <a:extLst>
                    <a:ext uri="{9D8B030D-6E8A-4147-A177-3AD203B41FA5}">
                      <a16:colId xmlns:a16="http://schemas.microsoft.com/office/drawing/2014/main" val="33462934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00120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8561113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5CB9CDC1-1883-ADE7-0C01-90340A54BFA7}"/>
              </a:ext>
            </a:extLst>
          </p:cNvPr>
          <p:cNvSpPr txBox="1"/>
          <p:nvPr/>
        </p:nvSpPr>
        <p:spPr>
          <a:xfrm>
            <a:off x="2668123" y="5762845"/>
            <a:ext cx="13150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categóric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80714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DB0EEDA-8078-4F90-C7AE-8CCE7E035D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10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DC26E23-7C55-9922-CE8B-B4A05D2D6F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979343"/>
              </p:ext>
            </p:extLst>
          </p:nvPr>
        </p:nvGraphicFramePr>
        <p:xfrm>
          <a:off x="1925672" y="698400"/>
          <a:ext cx="5230040" cy="19597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7510">
                  <a:extLst>
                    <a:ext uri="{9D8B030D-6E8A-4147-A177-3AD203B41FA5}">
                      <a16:colId xmlns:a16="http://schemas.microsoft.com/office/drawing/2014/main" val="2276809539"/>
                    </a:ext>
                  </a:extLst>
                </a:gridCol>
                <a:gridCol w="1307510">
                  <a:extLst>
                    <a:ext uri="{9D8B030D-6E8A-4147-A177-3AD203B41FA5}">
                      <a16:colId xmlns:a16="http://schemas.microsoft.com/office/drawing/2014/main" val="4059673955"/>
                    </a:ext>
                  </a:extLst>
                </a:gridCol>
                <a:gridCol w="1307510">
                  <a:extLst>
                    <a:ext uri="{9D8B030D-6E8A-4147-A177-3AD203B41FA5}">
                      <a16:colId xmlns:a16="http://schemas.microsoft.com/office/drawing/2014/main" val="448240427"/>
                    </a:ext>
                  </a:extLst>
                </a:gridCol>
                <a:gridCol w="1307510">
                  <a:extLst>
                    <a:ext uri="{9D8B030D-6E8A-4147-A177-3AD203B41FA5}">
                      <a16:colId xmlns:a16="http://schemas.microsoft.com/office/drawing/2014/main" val="3012884322"/>
                    </a:ext>
                  </a:extLst>
                </a:gridCol>
              </a:tblGrid>
              <a:tr h="979870">
                <a:tc>
                  <a:txBody>
                    <a:bodyPr/>
                    <a:lstStyle/>
                    <a:p>
                      <a:r>
                        <a:rPr lang="en-US" dirty="0" err="1"/>
                        <a:t>MedIn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AveBedrm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AveRoom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Edad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7255414"/>
                  </a:ext>
                </a:extLst>
              </a:tr>
              <a:tr h="97987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5632277"/>
                  </a:ext>
                </a:extLst>
              </a:tr>
            </a:tbl>
          </a:graphicData>
        </a:graphic>
      </p:graphicFrame>
      <p:sp>
        <p:nvSpPr>
          <p:cNvPr id="6" name="Arrow: Chevron 5">
            <a:extLst>
              <a:ext uri="{FF2B5EF4-FFF2-40B4-BE49-F238E27FC236}">
                <a16:creationId xmlns:a16="http://schemas.microsoft.com/office/drawing/2014/main" id="{168E259B-36A5-5E6A-CD34-1328B95EF4AC}"/>
              </a:ext>
            </a:extLst>
          </p:cNvPr>
          <p:cNvSpPr/>
          <p:nvPr/>
        </p:nvSpPr>
        <p:spPr>
          <a:xfrm rot="5400000">
            <a:off x="3976578" y="1924494"/>
            <a:ext cx="723014" cy="2764465"/>
          </a:xfrm>
          <a:prstGeom prst="chevr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9EE1A3E0-4CF1-DA71-21B0-4E168734E0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6931677"/>
              </p:ext>
            </p:extLst>
          </p:nvPr>
        </p:nvGraphicFramePr>
        <p:xfrm>
          <a:off x="476692" y="4451694"/>
          <a:ext cx="8128000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2800">
                  <a:extLst>
                    <a:ext uri="{9D8B030D-6E8A-4147-A177-3AD203B41FA5}">
                      <a16:colId xmlns:a16="http://schemas.microsoft.com/office/drawing/2014/main" val="3806387102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2053446540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4174626602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3947262526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724011310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1171069980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1071937702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774206156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430081801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6467706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MedIn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MediNc</a:t>
                      </a:r>
                      <a:r>
                        <a:rPr lang="en-US" dirty="0"/>
                        <a:t> ^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AveBdrms</a:t>
                      </a:r>
                      <a:r>
                        <a:rPr lang="en-US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AveBdrms</a:t>
                      </a:r>
                      <a:r>
                        <a:rPr lang="en-US" dirty="0"/>
                        <a:t> ^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AveRoom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AveRooms</a:t>
                      </a:r>
                      <a:r>
                        <a:rPr lang="en-US" dirty="0"/>
                        <a:t> ^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Eda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Edad</a:t>
                      </a:r>
                      <a:r>
                        <a:rPr lang="en-US" dirty="0"/>
                        <a:t> ^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MedInc</a:t>
                      </a:r>
                      <a:r>
                        <a:rPr lang="en-US" dirty="0"/>
                        <a:t> *</a:t>
                      </a:r>
                      <a:r>
                        <a:rPr lang="en-US" dirty="0" err="1"/>
                        <a:t>AveBdrm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07217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39537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73DE9AA-7175-7C78-1443-F2D615C9BB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2604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87906A2-B90F-DCCE-3836-78618C72E3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9892549"/>
              </p:ext>
            </p:extLst>
          </p:nvPr>
        </p:nvGraphicFramePr>
        <p:xfrm>
          <a:off x="0" y="1945640"/>
          <a:ext cx="4189228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94614">
                  <a:extLst>
                    <a:ext uri="{9D8B030D-6E8A-4147-A177-3AD203B41FA5}">
                      <a16:colId xmlns:a16="http://schemas.microsoft.com/office/drawing/2014/main" val="1586846079"/>
                    </a:ext>
                  </a:extLst>
                </a:gridCol>
                <a:gridCol w="2094614">
                  <a:extLst>
                    <a:ext uri="{9D8B030D-6E8A-4147-A177-3AD203B41FA5}">
                      <a16:colId xmlns:a16="http://schemas.microsoft.com/office/drawing/2014/main" val="41677256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Fech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Venta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mensual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53632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Enero</a:t>
                      </a:r>
                      <a:r>
                        <a:rPr lang="en-US" dirty="0"/>
                        <a:t>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99893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Febrero</a:t>
                      </a:r>
                      <a:r>
                        <a:rPr lang="en-US" dirty="0"/>
                        <a:t>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4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62075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arzo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0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47824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bril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46198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ayo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77055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Junio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2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18512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Julio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7860311"/>
                  </a:ext>
                </a:extLst>
              </a:tr>
            </a:tbl>
          </a:graphicData>
        </a:graphic>
      </p:graphicFrame>
      <p:sp>
        <p:nvSpPr>
          <p:cNvPr id="6" name="Arrow: Chevron 5">
            <a:extLst>
              <a:ext uri="{FF2B5EF4-FFF2-40B4-BE49-F238E27FC236}">
                <a16:creationId xmlns:a16="http://schemas.microsoft.com/office/drawing/2014/main" id="{F2F308B2-A7CE-7257-F8E2-AE747B2B0F75}"/>
              </a:ext>
            </a:extLst>
          </p:cNvPr>
          <p:cNvSpPr/>
          <p:nvPr/>
        </p:nvSpPr>
        <p:spPr>
          <a:xfrm>
            <a:off x="4625163" y="1945640"/>
            <a:ext cx="489097" cy="2860276"/>
          </a:xfrm>
          <a:prstGeom prst="chevro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ADA37DC-779C-A79C-395A-A8C4B2731C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2791440"/>
              </p:ext>
            </p:extLst>
          </p:nvPr>
        </p:nvGraphicFramePr>
        <p:xfrm>
          <a:off x="5805375" y="2367280"/>
          <a:ext cx="5906975" cy="212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1395">
                  <a:extLst>
                    <a:ext uri="{9D8B030D-6E8A-4147-A177-3AD203B41FA5}">
                      <a16:colId xmlns:a16="http://schemas.microsoft.com/office/drawing/2014/main" val="923333969"/>
                    </a:ext>
                  </a:extLst>
                </a:gridCol>
                <a:gridCol w="1181395">
                  <a:extLst>
                    <a:ext uri="{9D8B030D-6E8A-4147-A177-3AD203B41FA5}">
                      <a16:colId xmlns:a16="http://schemas.microsoft.com/office/drawing/2014/main" val="1650770211"/>
                    </a:ext>
                  </a:extLst>
                </a:gridCol>
                <a:gridCol w="1181395">
                  <a:extLst>
                    <a:ext uri="{9D8B030D-6E8A-4147-A177-3AD203B41FA5}">
                      <a16:colId xmlns:a16="http://schemas.microsoft.com/office/drawing/2014/main" val="2286084618"/>
                    </a:ext>
                  </a:extLst>
                </a:gridCol>
                <a:gridCol w="1181395">
                  <a:extLst>
                    <a:ext uri="{9D8B030D-6E8A-4147-A177-3AD203B41FA5}">
                      <a16:colId xmlns:a16="http://schemas.microsoft.com/office/drawing/2014/main" val="547838122"/>
                    </a:ext>
                  </a:extLst>
                </a:gridCol>
                <a:gridCol w="1181395">
                  <a:extLst>
                    <a:ext uri="{9D8B030D-6E8A-4147-A177-3AD203B41FA5}">
                      <a16:colId xmlns:a16="http://schemas.microsoft.com/office/drawing/2014/main" val="59778133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emana </a:t>
                      </a:r>
                      <a:r>
                        <a:rPr lang="en-US" dirty="0" err="1"/>
                        <a:t>sant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-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-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-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02345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4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66332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4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83095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2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09519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2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0446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0684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19F62F9-8F71-EB7D-845E-D1ADC5DD2D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1324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32E6F620-C96C-E1FB-81C8-6BC517FBC8E9}"/>
              </a:ext>
            </a:extLst>
          </p:cNvPr>
          <p:cNvSpPr/>
          <p:nvPr/>
        </p:nvSpPr>
        <p:spPr>
          <a:xfrm>
            <a:off x="3987210" y="0"/>
            <a:ext cx="3902148" cy="145666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Algoritmos</a:t>
            </a:r>
            <a:r>
              <a:rPr lang="en-US" dirty="0"/>
              <a:t> de Machine Learn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E41DCF3-7469-C734-58C8-A37085902189}"/>
              </a:ext>
            </a:extLst>
          </p:cNvPr>
          <p:cNvSpPr/>
          <p:nvPr/>
        </p:nvSpPr>
        <p:spPr>
          <a:xfrm>
            <a:off x="935666" y="1656021"/>
            <a:ext cx="3125972" cy="81870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Algoritmos</a:t>
            </a:r>
            <a:r>
              <a:rPr lang="en-US" dirty="0"/>
              <a:t> </a:t>
            </a:r>
            <a:r>
              <a:rPr lang="en-US" dirty="0" err="1"/>
              <a:t>supervisados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2662E4-7E4C-763C-5C5E-E58A514C645E}"/>
              </a:ext>
            </a:extLst>
          </p:cNvPr>
          <p:cNvSpPr/>
          <p:nvPr/>
        </p:nvSpPr>
        <p:spPr>
          <a:xfrm>
            <a:off x="8360735" y="1637413"/>
            <a:ext cx="3125972" cy="81870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Algoritmos</a:t>
            </a:r>
            <a:r>
              <a:rPr lang="en-US" dirty="0"/>
              <a:t> no </a:t>
            </a:r>
            <a:r>
              <a:rPr lang="en-US" dirty="0" err="1"/>
              <a:t>supervisados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3FCDB6-780A-2CD1-BA8F-E7CBDF967EEA}"/>
              </a:ext>
            </a:extLst>
          </p:cNvPr>
          <p:cNvSpPr/>
          <p:nvPr/>
        </p:nvSpPr>
        <p:spPr>
          <a:xfrm>
            <a:off x="7208874" y="2674090"/>
            <a:ext cx="1967024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Clusterización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F61FAC8-D8EA-BDF9-30E3-58D8D806C3ED}"/>
              </a:ext>
            </a:extLst>
          </p:cNvPr>
          <p:cNvSpPr/>
          <p:nvPr/>
        </p:nvSpPr>
        <p:spPr>
          <a:xfrm>
            <a:off x="10224976" y="2674090"/>
            <a:ext cx="1967024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Reducción</a:t>
            </a:r>
            <a:r>
              <a:rPr lang="en-US" dirty="0"/>
              <a:t> de </a:t>
            </a:r>
            <a:r>
              <a:rPr lang="en-US" dirty="0" err="1"/>
              <a:t>dimensionalidad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B33AD24-0FD2-BD79-1084-B44603AB8AE9}"/>
              </a:ext>
            </a:extLst>
          </p:cNvPr>
          <p:cNvSpPr/>
          <p:nvPr/>
        </p:nvSpPr>
        <p:spPr>
          <a:xfrm>
            <a:off x="329610" y="2881424"/>
            <a:ext cx="1701209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Regresión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1F92D94-F695-CEA3-0465-C1AFF1722548}"/>
              </a:ext>
            </a:extLst>
          </p:cNvPr>
          <p:cNvSpPr/>
          <p:nvPr/>
        </p:nvSpPr>
        <p:spPr>
          <a:xfrm>
            <a:off x="2776871" y="2881424"/>
            <a:ext cx="1701209" cy="62732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Clasificación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0A6B839-6F18-B101-DAE8-A9ABA68E6918}"/>
              </a:ext>
            </a:extLst>
          </p:cNvPr>
          <p:cNvSpPr txBox="1"/>
          <p:nvPr/>
        </p:nvSpPr>
        <p:spPr>
          <a:xfrm>
            <a:off x="10590028" y="3508744"/>
            <a:ext cx="14460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C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1B4EDD-AF92-E326-DAE7-5D2803E639F1}"/>
              </a:ext>
            </a:extLst>
          </p:cNvPr>
          <p:cNvSpPr txBox="1"/>
          <p:nvPr/>
        </p:nvSpPr>
        <p:spPr>
          <a:xfrm>
            <a:off x="7028121" y="3429000"/>
            <a:ext cx="27166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- nearest neighb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-mean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0FBEF28-8E8D-DB44-32C1-C4D8B8C7F730}"/>
              </a:ext>
            </a:extLst>
          </p:cNvPr>
          <p:cNvSpPr txBox="1"/>
          <p:nvPr/>
        </p:nvSpPr>
        <p:spPr>
          <a:xfrm>
            <a:off x="53163" y="3684181"/>
            <a:ext cx="244548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Regresión</a:t>
            </a:r>
            <a:r>
              <a:rPr lang="en-US" dirty="0"/>
              <a:t> line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Regresión</a:t>
            </a:r>
            <a:r>
              <a:rPr lang="en-US" dirty="0"/>
              <a:t> </a:t>
            </a:r>
            <a:r>
              <a:rPr lang="en-US" dirty="0" err="1"/>
              <a:t>polinómica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(</a:t>
            </a:r>
            <a:r>
              <a:rPr lang="en-US" dirty="0" err="1"/>
              <a:t>PassiveAgressive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Árbol de deci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osque </a:t>
            </a:r>
            <a:r>
              <a:rPr lang="en-US" dirty="0" err="1"/>
              <a:t>aleatorio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7B3A65-4401-2B6D-639C-82CBA3F38919}"/>
              </a:ext>
            </a:extLst>
          </p:cNvPr>
          <p:cNvSpPr txBox="1"/>
          <p:nvPr/>
        </p:nvSpPr>
        <p:spPr>
          <a:xfrm>
            <a:off x="2658140" y="3638014"/>
            <a:ext cx="22434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Árbol de deci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osque </a:t>
            </a:r>
            <a:r>
              <a:rPr lang="en-US" dirty="0" err="1"/>
              <a:t>aleatori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18162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8</TotalTime>
  <Words>140</Words>
  <Application>Microsoft Office PowerPoint</Application>
  <PresentationFormat>Widescreen</PresentationFormat>
  <Paragraphs>90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ptos</vt:lpstr>
      <vt:lpstr>Aptos Display</vt:lpstr>
      <vt:lpstr>Arial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onso Sandoval</dc:creator>
  <cp:lastModifiedBy>Alonso Sandoval</cp:lastModifiedBy>
  <cp:revision>3</cp:revision>
  <dcterms:created xsi:type="dcterms:W3CDTF">2024-07-30T01:16:27Z</dcterms:created>
  <dcterms:modified xsi:type="dcterms:W3CDTF">2024-08-08T03:32:29Z</dcterms:modified>
</cp:coreProperties>
</file>